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82-4C97-A226-26664513E0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224304"/>
        <c:axId val="444227664"/>
      </c:line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microsoft.com/office/2014/relationships/chartEx" Target="../charts/chartEx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1012B-754A-4AEA-782E-BBA8740DD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DDE2F8-F692-DBC0-CADD-B31571DD91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DDE2F8-F692-DBC0-CADD-B31571DD9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D5A5B6B8-CFFB-621D-EFED-2CCD5E190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/ Lin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FD59DC4-A6D8-6718-855A-FBD65AA38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233288EA-C254-D059-604C-5413AD3E3E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499421A-C833-CB4B-D2F1-3CA7E65A78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7D5980AD-52DF-854A-00AC-68851A8F4F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1CEF6D2F-60FA-3C57-D02F-2460FCFCA841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Placeholder 5">
                <a:extLst>
                  <a:ext uri="{FF2B5EF4-FFF2-40B4-BE49-F238E27FC236}">
                    <a16:creationId xmlns:a16="http://schemas.microsoft.com/office/drawing/2014/main" id="{BAEC4BC6-F737-CFE5-DCDA-A38833F2D93A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7" name="Chart Placeholder 5">
                <a:extLst>
                  <a:ext uri="{FF2B5EF4-FFF2-40B4-BE49-F238E27FC236}">
                    <a16:creationId xmlns:a16="http://schemas.microsoft.com/office/drawing/2014/main" id="{BAEC4BC6-F737-CFE5-DCDA-A38833F2D93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93530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6</TotalTime>
  <Words>2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81</cp:revision>
  <dcterms:created xsi:type="dcterms:W3CDTF">2025-07-09T10:57:17Z</dcterms:created>
  <dcterms:modified xsi:type="dcterms:W3CDTF">2025-10-22T10:11:44Z</dcterms:modified>
  <cp:category/>
</cp:coreProperties>
</file>